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6"/>
  </p:notesMasterIdLst>
  <p:sldIdLst>
    <p:sldId id="256" r:id="rId3"/>
    <p:sldId id="309" r:id="rId4"/>
    <p:sldId id="31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0599" autoAdjust="0"/>
  </p:normalViewPr>
  <p:slideViewPr>
    <p:cSldViewPr snapToGrid="0">
      <p:cViewPr varScale="1">
        <p:scale>
          <a:sx n="103" d="100"/>
          <a:sy n="103" d="100"/>
        </p:scale>
        <p:origin x="91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FC90F-9F23-4115-8B9D-49DB6A25180C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7F814-5BF9-4628-BB3A-E3A6846B20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919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55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54922-F74E-4F9F-AFC9-1FF220FC29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CA179F-7BF3-41BA-B9F3-7A7C138D31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20C62-7F96-4BE3-B513-996AF6718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2A82-5219-4A4C-BDA7-1D8642E23E87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073CB-FF11-4ED6-80CE-6DAB6BED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451EF-26CD-4D87-A6A2-7BCFA642C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137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73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9"/>
            <a:ext cx="11252200" cy="290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rgbClr val="009FDA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20E5A9-0AD8-42FA-A41B-4FEFB3D9BB49}"/>
              </a:ext>
            </a:extLst>
          </p:cNvPr>
          <p:cNvCxnSpPr/>
          <p:nvPr userDrawn="1"/>
        </p:nvCxnSpPr>
        <p:spPr>
          <a:xfrm>
            <a:off x="500408" y="1027604"/>
            <a:ext cx="110642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56692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BB10AA-E2C9-438F-8F6A-0C485EB53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5C2AB0-927C-4268-BFB4-2E09ED9A3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3906B5-E134-45ED-9118-FE78D8C055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62A82-5219-4A4C-BDA7-1D8642E23E87}" type="datetimeFigureOut">
              <a:rPr lang="en-US" smtClean="0"/>
              <a:t>5/1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170AD-4D4A-4046-98D2-05A94D129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99CF0-74DF-4CBF-B90A-B4EB430A7B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911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12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Zigzag DNA">
            <a:extLst>
              <a:ext uri="{FF2B5EF4-FFF2-40B4-BE49-F238E27FC236}">
                <a16:creationId xmlns:a16="http://schemas.microsoft.com/office/drawing/2014/main" id="{28D03B02-12C0-4774-8D48-4F27B3AC4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24" y="145234"/>
            <a:ext cx="1477683" cy="71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A15345-9A4E-4833-8805-B1A39BFC12C3}"/>
              </a:ext>
            </a:extLst>
          </p:cNvPr>
          <p:cNvSpPr txBox="1"/>
          <p:nvPr/>
        </p:nvSpPr>
        <p:spPr>
          <a:xfrm>
            <a:off x="363124" y="5327771"/>
            <a:ext cx="989192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 swarm of robots for encouraging desired social behaviors</a:t>
            </a:r>
          </a:p>
          <a:p>
            <a:endParaRPr lang="en-US" sz="1600" dirty="0"/>
          </a:p>
          <a:p>
            <a:r>
              <a:rPr lang="en-US" sz="1600" dirty="0"/>
              <a:t>Serge Saaybi</a:t>
            </a:r>
          </a:p>
          <a:p>
            <a:r>
              <a:rPr lang="en-US" sz="1600" dirty="0"/>
              <a:t>Thesis Status update report</a:t>
            </a:r>
            <a:endParaRPr lang="en-US" sz="1400" dirty="0"/>
          </a:p>
          <a:p>
            <a:r>
              <a:rPr lang="en-US" sz="1400" dirty="0"/>
              <a:t>TU Delft | 11 May 2021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8916756E-1BD3-401F-8FEA-18C59F612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976" y="1665976"/>
            <a:ext cx="3526047" cy="352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18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44EEB5-113E-4B0D-A7DB-CF2FDBFB8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done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EF1A7D2A-DD1B-4B83-8270-F0D9618319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90916"/>
          </a:xfrm>
        </p:spPr>
        <p:txBody>
          <a:bodyPr/>
          <a:lstStyle/>
          <a:p>
            <a:r>
              <a:rPr lang="en-US" dirty="0"/>
              <a:t>6 May --&gt; 11 Ma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9D923F-7542-491E-93CE-FEE83D3155B7}"/>
              </a:ext>
            </a:extLst>
          </p:cNvPr>
          <p:cNvSpPr txBox="1"/>
          <p:nvPr/>
        </p:nvSpPr>
        <p:spPr>
          <a:xfrm>
            <a:off x="469900" y="1361707"/>
            <a:ext cx="11010123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/>
              <a:t>Worked on the swarm robot design section from the thesis report- Hardware selection: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Deploying AI to the field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Main inference hardware requirements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Identified hardware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Hardware comparison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Hardware final choice</a:t>
            </a:r>
          </a:p>
          <a:p>
            <a:pPr>
              <a:spcBef>
                <a:spcPts val="600"/>
              </a:spcBef>
              <a:buSzPct val="100000"/>
            </a:pPr>
            <a:endParaRPr lang="en-US" sz="1200" dirty="0"/>
          </a:p>
          <a:p>
            <a:pPr>
              <a:spcBef>
                <a:spcPts val="600"/>
              </a:spcBef>
              <a:buSzPct val="100000"/>
            </a:pPr>
            <a:r>
              <a:rPr lang="en-US" sz="1200" b="1" dirty="0"/>
              <a:t>Detail the steps required to set up ROS, Gazebo and </a:t>
            </a:r>
            <a:r>
              <a:rPr lang="en-US" sz="1200" b="1" dirty="0" err="1"/>
              <a:t>OpenAI</a:t>
            </a:r>
            <a:r>
              <a:rPr lang="en-US" sz="1200" b="1" dirty="0"/>
              <a:t> ROS (available on </a:t>
            </a:r>
            <a:r>
              <a:rPr lang="en-US" sz="1200" b="1" dirty="0" err="1"/>
              <a:t>github</a:t>
            </a:r>
            <a:r>
              <a:rPr lang="en-US" sz="1200" b="1" dirty="0"/>
              <a:t>)</a:t>
            </a:r>
          </a:p>
          <a:p>
            <a:pPr>
              <a:spcBef>
                <a:spcPts val="600"/>
              </a:spcBef>
              <a:buSzPct val="100000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8756206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471F79-FF41-4BCC-815C-7DDB6E693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1 May --&gt; 18 Ma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02765-5B90-4BCE-8EC4-A5FA125F6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next wee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69FF96-5F82-4877-972E-2B13E9B0B522}"/>
              </a:ext>
            </a:extLst>
          </p:cNvPr>
          <p:cNvSpPr txBox="1"/>
          <p:nvPr/>
        </p:nvSpPr>
        <p:spPr>
          <a:xfrm>
            <a:off x="469900" y="1361707"/>
            <a:ext cx="11010123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/>
              <a:t> Identify, compare and assess which DRL navigation algorithm is most suited for our task :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Work on the software benchmark part of the report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Check out vision based and lidar based navigation using DRL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Assess their feasibility based on several metrics to be identified (performance, cost, </a:t>
            </a:r>
            <a:r>
              <a:rPr lang="en-US" sz="1200" dirty="0" err="1"/>
              <a:t>etc</a:t>
            </a:r>
            <a:r>
              <a:rPr lang="en-US" sz="1200" dirty="0"/>
              <a:t>)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Check out surveys and papers already identified on navigation with DRL</a:t>
            </a:r>
          </a:p>
          <a:p>
            <a:pPr>
              <a:spcBef>
                <a:spcPts val="600"/>
              </a:spcBef>
              <a:buSzPct val="100000"/>
            </a:pPr>
            <a:endParaRPr lang="en-US" sz="1200" dirty="0"/>
          </a:p>
          <a:p>
            <a:pPr>
              <a:spcBef>
                <a:spcPts val="600"/>
              </a:spcBef>
              <a:buSzPct val="100000"/>
            </a:pPr>
            <a:r>
              <a:rPr lang="en-US" sz="1200" b="1" dirty="0"/>
              <a:t>Start checking some tutorials for the jetson nano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How to implement a DRL algorithm on it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How to have more than 1 network : we need in our case image recognition and DRL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spcBef>
                <a:spcPts val="600"/>
              </a:spcBef>
              <a:buSzPct val="100000"/>
            </a:pPr>
            <a:r>
              <a:rPr lang="en-US" sz="1200" b="1" dirty="0"/>
              <a:t>Check on what needs to be done as well</a:t>
            </a:r>
          </a:p>
        </p:txBody>
      </p:sp>
    </p:spTree>
    <p:extLst>
      <p:ext uri="{BB962C8B-B14F-4D97-AF65-F5344CB8AC3E}">
        <p14:creationId xmlns:p14="http://schemas.microsoft.com/office/powerpoint/2010/main" val="14197831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60</TotalTime>
  <Words>191</Words>
  <Application>Microsoft Office PowerPoint</Application>
  <PresentationFormat>Widescreen</PresentationFormat>
  <Paragraphs>29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Verdana</vt:lpstr>
      <vt:lpstr>Office Theme</vt:lpstr>
      <vt:lpstr>1_Deloitte_US_Onscreen</vt:lpstr>
      <vt:lpstr>think-cell Slide</vt:lpstr>
      <vt:lpstr>PowerPoint Presentation</vt:lpstr>
      <vt:lpstr>Work done</vt:lpstr>
      <vt:lpstr>For next wee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rge s</dc:creator>
  <cp:lastModifiedBy>serge s</cp:lastModifiedBy>
  <cp:revision>228</cp:revision>
  <dcterms:created xsi:type="dcterms:W3CDTF">2020-11-16T11:04:38Z</dcterms:created>
  <dcterms:modified xsi:type="dcterms:W3CDTF">2021-05-11T22:03:06Z</dcterms:modified>
</cp:coreProperties>
</file>